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5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4C-4943-9EF3-FB1BCB75FE3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4C-4943-9EF3-FB1BCB75FE3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4C-4943-9EF3-FB1BCB75FE3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0B-4970-8914-088B67661D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4C-4943-9EF3-FB1BCB75FE3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4C-4943-9EF3-FB1BCB75FE3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24C-4943-9EF3-FB1BCB75FE3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0B-4970-8914-088B67661D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D24C-4943-9EF3-FB1BCB75FE3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D24C-4943-9EF3-FB1BCB75FE3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D24C-4943-9EF3-FB1BCB75FE3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0B-4970-8914-088B67661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07CB32-7312-85B7-377B-46FBC88CE2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006A55-20D5-50A5-D266-6BDC47AAC8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06A55-20D5-50A5-D266-6BDC47AAC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Placeholder 16">
            <a:extLst>
              <a:ext uri="{FF2B5EF4-FFF2-40B4-BE49-F238E27FC236}">
                <a16:creationId xmlns:a16="http://schemas.microsoft.com/office/drawing/2014/main" id="{CF85E393-72A6-ED44-B30E-6ECF305AC72B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419968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EB5BE9B3-A158-756B-ABB7-9F08EC494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e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E453F73-0713-9AAF-75E0-59FC4A6FA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96DA600-28C3-04B7-4476-D9842E11CE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3A3E45C-3C36-D1EA-6FD1-ED5C4ED434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268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4</TotalTime>
  <Words>14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i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59</cp:revision>
  <dcterms:created xsi:type="dcterms:W3CDTF">2025-07-09T10:57:17Z</dcterms:created>
  <dcterms:modified xsi:type="dcterms:W3CDTF">2025-10-22T09:49:03Z</dcterms:modified>
  <cp:category/>
</cp:coreProperties>
</file>